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44"/>
  </p:notesMasterIdLst>
  <p:handoutMasterIdLst>
    <p:handoutMasterId r:id="rId145"/>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29" r:id="rId110"/>
    <p:sldId id="434" r:id="rId111"/>
    <p:sldId id="430" r:id="rId112"/>
    <p:sldId id="431" r:id="rId113"/>
    <p:sldId id="432" r:id="rId114"/>
    <p:sldId id="433" r:id="rId115"/>
    <p:sldId id="435" r:id="rId116"/>
    <p:sldId id="437" r:id="rId117"/>
    <p:sldId id="436" r:id="rId118"/>
    <p:sldId id="409" r:id="rId119"/>
    <p:sldId id="438" r:id="rId120"/>
    <p:sldId id="439" r:id="rId121"/>
    <p:sldId id="410" r:id="rId122"/>
    <p:sldId id="411" r:id="rId123"/>
    <p:sldId id="412" r:id="rId124"/>
    <p:sldId id="413" r:id="rId125"/>
    <p:sldId id="414" r:id="rId126"/>
    <p:sldId id="415" r:id="rId127"/>
    <p:sldId id="416" r:id="rId128"/>
    <p:sldId id="417" r:id="rId129"/>
    <p:sldId id="418" r:id="rId130"/>
    <p:sldId id="419" r:id="rId131"/>
    <p:sldId id="420" r:id="rId132"/>
    <p:sldId id="421" r:id="rId133"/>
    <p:sldId id="422" r:id="rId134"/>
    <p:sldId id="423" r:id="rId135"/>
    <p:sldId id="424" r:id="rId136"/>
    <p:sldId id="425" r:id="rId137"/>
    <p:sldId id="273" r:id="rId138"/>
    <p:sldId id="274" r:id="rId139"/>
    <p:sldId id="277" r:id="rId140"/>
    <p:sldId id="276" r:id="rId141"/>
    <p:sldId id="300" r:id="rId142"/>
    <p:sldId id="285" r:id="rId143"/>
  </p:sldIdLst>
  <p:sldSz cx="12192000" cy="6858000"/>
  <p:notesSz cx="6858000" cy="9144000"/>
  <p:custDataLst>
    <p:tags r:id="rId14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13"/>
            <p14:sldId id="414"/>
            <p14:sldId id="415"/>
            <p14:sldId id="416"/>
            <p14:sldId id="417"/>
            <p14:sldId id="418"/>
            <p14:sldId id="419"/>
            <p14:sldId id="420"/>
            <p14:sldId id="421"/>
            <p14:sldId id="422"/>
            <p14:sldId id="423"/>
            <p14:sldId id="424"/>
            <p14:sldId id="425"/>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864"/>
    <a:srgbClr val="93E416"/>
    <a:srgbClr val="00C37B"/>
    <a:srgbClr val="88D5ED"/>
    <a:srgbClr val="F5F5F5"/>
    <a:srgbClr val="12ABDB"/>
    <a:srgbClr val="FE304C"/>
    <a:srgbClr val="FF7E83"/>
    <a:srgbClr val="C8FF16"/>
    <a:srgbClr val="CC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95759" autoAdjust="0"/>
  </p:normalViewPr>
  <p:slideViewPr>
    <p:cSldViewPr>
      <p:cViewPr varScale="1">
        <p:scale>
          <a:sx n="110" d="100"/>
          <a:sy n="110" d="100"/>
        </p:scale>
        <p:origin x="564" y="1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notesMaster" Target="notesMasters/notesMaster1.xml"/><Relationship Id="rId149"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theme" Target="theme/theme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presProps" Target="presProps.xml"/><Relationship Id="rId15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5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2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2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1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6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4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44"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62"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19"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3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3784586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14193313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9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1976</TotalTime>
  <Words>4169</Words>
  <Application>Microsoft Office PowerPoint</Application>
  <PresentationFormat>Panoramiczny</PresentationFormat>
  <Paragraphs>1061</Paragraphs>
  <Slides>139</Slides>
  <Notes>3</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39</vt:i4>
      </vt:variant>
    </vt:vector>
  </HeadingPairs>
  <TitlesOfParts>
    <vt:vector size="147"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39</cp:revision>
  <dcterms:created xsi:type="dcterms:W3CDTF">2019-02-10T09:17:17Z</dcterms:created>
  <dcterms:modified xsi:type="dcterms:W3CDTF">2019-02-23T21:16:28Z</dcterms:modified>
</cp:coreProperties>
</file>